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>
  <p:sldMasterIdLst>
    <p:sldMasterId id="2147483648" r:id="rId1"/>
    <p:sldMasterId id="2147483654" r:id="rId2"/>
    <p:sldMasterId id="2147483658" r:id="rId3"/>
  </p:sldMasterIdLst>
  <p:notesMasterIdLst>
    <p:notesMasterId r:id="rId6"/>
  </p:notesMasterIdLst>
  <p:handoutMasterIdLst>
    <p:handoutMasterId r:id="rId7"/>
  </p:handoutMasterIdLst>
  <p:sldIdLst>
    <p:sldId id="4011" r:id="rId4"/>
    <p:sldId id="4014" r:id="rId5"/>
  </p:sldIdLst>
  <p:sldSz cx="11949113" cy="6721475"/>
  <p:notesSz cx="6805613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376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096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753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4730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1930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198495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5695" algn="l" defTabSz="913765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3">
          <p15:clr>
            <a:srgbClr val="A4A3A4"/>
          </p15:clr>
        </p15:guide>
        <p15:guide id="2" pos="7347">
          <p15:clr>
            <a:srgbClr val="A4A3A4"/>
          </p15:clr>
        </p15:guide>
        <p15:guide id="3" orient="horz" pos="2321">
          <p15:clr>
            <a:srgbClr val="A4A3A4"/>
          </p15:clr>
        </p15:guide>
        <p15:guide id="4" orient="horz" pos="144">
          <p15:clr>
            <a:srgbClr val="A4A3A4"/>
          </p15:clr>
        </p15:guide>
        <p15:guide id="5" orient="horz" pos="1346">
          <p15:clr>
            <a:srgbClr val="A4A3A4"/>
          </p15:clr>
        </p15:guide>
        <p15:guide id="6" pos="37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5405"/>
    <a:srgbClr val="D9510A"/>
    <a:srgbClr val="D3500B"/>
    <a:srgbClr val="005D3C"/>
    <a:srgbClr val="E05208"/>
    <a:srgbClr val="CD4F0D"/>
    <a:srgbClr val="005E3C"/>
    <a:srgbClr val="002960"/>
    <a:srgbClr val="006DFE"/>
    <a:srgbClr val="E483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9" autoAdjust="0"/>
    <p:restoredTop sz="93028" autoAdjust="0"/>
  </p:normalViewPr>
  <p:slideViewPr>
    <p:cSldViewPr snapToGrid="0" snapToObjects="1">
      <p:cViewPr varScale="1">
        <p:scale>
          <a:sx n="153" d="100"/>
          <a:sy n="153" d="100"/>
        </p:scale>
        <p:origin x="1064" y="184"/>
      </p:cViewPr>
      <p:guideLst>
        <p:guide pos="203"/>
        <p:guide pos="7347"/>
        <p:guide orient="horz" pos="2321"/>
        <p:guide orient="horz" pos="144"/>
        <p:guide orient="horz" pos="1346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0"/>
        <p:guide pos="2124"/>
        <p:guide orient="horz" pos="3131"/>
        <p:guide pos="2144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82600" y="622300"/>
            <a:ext cx="7777163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  <a:effectLst/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114" y="5340802"/>
            <a:ext cx="5799510" cy="122648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s-ES_tradnl" altLang="zh-CN" noProof="0"/>
              <a:t>Click to edit Master text styles</a:t>
            </a:r>
          </a:p>
          <a:p>
            <a:pPr lvl="1"/>
            <a:r>
              <a:rPr lang="es-ES_tradnl" altLang="zh-CN" noProof="0"/>
              <a:t>Second level</a:t>
            </a:r>
          </a:p>
          <a:p>
            <a:pPr lvl="2"/>
            <a:r>
              <a:rPr lang="es-ES_tradnl" altLang="zh-CN" noProof="0"/>
              <a:t>Third level</a:t>
            </a:r>
          </a:p>
          <a:p>
            <a:pPr lvl="3"/>
            <a:r>
              <a:rPr lang="es-ES_tradnl" altLang="zh-CN" noProof="0"/>
              <a:t>Fourth level</a:t>
            </a:r>
          </a:p>
          <a:p>
            <a:pPr lvl="4"/>
            <a:r>
              <a:rPr lang="es-ES_tradnl" altLang="zh-CN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3466" y="9558132"/>
            <a:ext cx="539899" cy="1852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s-ES_tradnl" altLang="zh-CN" smtClean="0"/>
              <a:t>‹#›</a:t>
            </a:fld>
            <a:endParaRPr lang="zh-CN" altLang="es-ES_tradnl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3299" y="110624"/>
            <a:ext cx="66" cy="1235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zh-CN" alt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7475" indent="-115570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99720" indent="-180975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26720" indent="-125095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2925" indent="-114300" algn="l" defTabSz="89471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473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3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6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s-ES_tradnl" altLang="zh-CN" smtClean="0"/>
              <a:t>0</a:t>
            </a:fld>
            <a:endParaRPr lang="zh-CN" altLang="es-ES_tradnl"/>
          </a:p>
        </p:txBody>
      </p:sp>
    </p:spTree>
    <p:extLst>
      <p:ext uri="{BB962C8B-B14F-4D97-AF65-F5344CB8AC3E}">
        <p14:creationId xmlns:p14="http://schemas.microsoft.com/office/powerpoint/2010/main" val="3573809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s-ES_tradnl" altLang="zh-CN" smtClean="0"/>
              <a:t>1</a:t>
            </a:fld>
            <a:endParaRPr lang="zh-CN" altLang="es-ES_tradnl"/>
          </a:p>
        </p:txBody>
      </p:sp>
    </p:spTree>
    <p:extLst>
      <p:ext uri="{BB962C8B-B14F-4D97-AF65-F5344CB8AC3E}">
        <p14:creationId xmlns:p14="http://schemas.microsoft.com/office/powerpoint/2010/main" val="1733088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49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2993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6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02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1612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4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1715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平行四边形 14"/>
          <p:cNvSpPr/>
          <p:nvPr/>
        </p:nvSpPr>
        <p:spPr>
          <a:xfrm>
            <a:off x="9661295" y="6421867"/>
            <a:ext cx="1768705" cy="318086"/>
          </a:xfrm>
          <a:prstGeom prst="parallelogram">
            <a:avLst/>
          </a:prstGeom>
          <a:solidFill>
            <a:srgbClr val="EB54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grpSp>
        <p:nvGrpSpPr>
          <p:cNvPr id="7" name="组 6"/>
          <p:cNvGrpSpPr/>
          <p:nvPr userDrawn="1"/>
        </p:nvGrpSpPr>
        <p:grpSpPr>
          <a:xfrm>
            <a:off x="79841" y="-94620"/>
            <a:ext cx="400720" cy="476045"/>
            <a:chOff x="81464" y="-96542"/>
            <a:chExt cx="408865" cy="485714"/>
          </a:xfrm>
        </p:grpSpPr>
        <p:sp>
          <p:nvSpPr>
            <p:cNvPr id="8" name="矩形 7"/>
            <p:cNvSpPr/>
            <p:nvPr/>
          </p:nvSpPr>
          <p:spPr>
            <a:xfrm>
              <a:off x="81464" y="-96542"/>
              <a:ext cx="344557" cy="344557"/>
            </a:xfrm>
            <a:prstGeom prst="rect">
              <a:avLst/>
            </a:prstGeom>
            <a:solidFill>
              <a:srgbClr val="005E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570"/>
                <a:t>   </a:t>
              </a:r>
              <a:endParaRPr kumimoji="1" lang="zh-CN" altLang="en-US" sz="1570" dirty="0"/>
            </a:p>
          </p:txBody>
        </p:sp>
        <p:sp>
          <p:nvSpPr>
            <p:cNvPr id="9" name="矩形 8"/>
            <p:cNvSpPr/>
            <p:nvPr/>
          </p:nvSpPr>
          <p:spPr>
            <a:xfrm>
              <a:off x="206189" y="106857"/>
              <a:ext cx="284140" cy="282315"/>
            </a:xfrm>
            <a:prstGeom prst="rect">
              <a:avLst/>
            </a:prstGeom>
            <a:solidFill>
              <a:srgbClr val="E953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570"/>
                <a:t>   </a:t>
              </a:r>
              <a:endParaRPr kumimoji="1" lang="zh-CN" altLang="en-US" sz="1570" dirty="0"/>
            </a:p>
          </p:txBody>
        </p:sp>
      </p:grpSp>
      <p:sp>
        <p:nvSpPr>
          <p:cNvPr id="13" name="平行四边形 12"/>
          <p:cNvSpPr/>
          <p:nvPr/>
        </p:nvSpPr>
        <p:spPr>
          <a:xfrm>
            <a:off x="-139214" y="6421868"/>
            <a:ext cx="9133836" cy="318087"/>
          </a:xfrm>
          <a:prstGeom prst="parallelogram">
            <a:avLst/>
          </a:prstGeom>
          <a:solidFill>
            <a:srgbClr val="EB54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8878046" y="6421868"/>
            <a:ext cx="925327" cy="318087"/>
          </a:xfrm>
          <a:prstGeom prst="rect">
            <a:avLst/>
          </a:prstGeom>
        </p:spPr>
      </p:pic>
      <p:sp>
        <p:nvSpPr>
          <p:cNvPr id="16" name="平行四边形 15"/>
          <p:cNvSpPr/>
          <p:nvPr/>
        </p:nvSpPr>
        <p:spPr>
          <a:xfrm>
            <a:off x="-139215" y="6692349"/>
            <a:ext cx="9133836" cy="90184"/>
          </a:xfrm>
          <a:prstGeom prst="parallelogram">
            <a:avLst/>
          </a:prstGeom>
          <a:solidFill>
            <a:srgbClr val="005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sp>
        <p:nvSpPr>
          <p:cNvPr id="17" name="平行四边形 16"/>
          <p:cNvSpPr/>
          <p:nvPr/>
        </p:nvSpPr>
        <p:spPr>
          <a:xfrm>
            <a:off x="9639706" y="6685397"/>
            <a:ext cx="1720444" cy="45719"/>
          </a:xfrm>
          <a:prstGeom prst="parallelogram">
            <a:avLst/>
          </a:prstGeom>
          <a:solidFill>
            <a:srgbClr val="005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57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321" y="6488606"/>
            <a:ext cx="1758431" cy="1536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5" cstate="email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7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9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8839" y="230189"/>
            <a:ext cx="1125867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/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1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5" y="36518"/>
            <a:ext cx="393717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zh-CN" sz="800" noProof="0"/>
          </a:p>
        </p:txBody>
      </p:sp>
      <p:grpSp>
        <p:nvGrpSpPr>
          <p:cNvPr id="8" name="McK Title Elements"/>
          <p:cNvGrpSpPr/>
          <p:nvPr/>
        </p:nvGrpSpPr>
        <p:grpSpPr bwMode="auto">
          <a:xfrm>
            <a:off x="10" y="8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文件类型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400" baseline="0" noProof="0" dirty="0">
                  <a:latin typeface="+mn-lt"/>
                </a:rPr>
                <a:t>日期</a:t>
              </a:r>
              <a:endParaRPr lang="en-US" altLang="zh-CN" sz="1400" baseline="0" noProof="0" dirty="0">
                <a:latin typeface="+mn-lt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机密和专有</a:t>
              </a:r>
            </a:p>
            <a:p>
              <a:pPr defTabSz="803910" eaLnBrk="0" hangingPunct="0"/>
              <a:r>
                <a:rPr lang="zh-CN" altLang="en-US" sz="800" baseline="0" noProof="0" dirty="0">
                  <a:latin typeface="+mn-lt"/>
                </a:rPr>
                <a:t>未经麦肯锡许可，任何对此资料的使用严格禁止</a:t>
              </a:r>
              <a:endParaRPr lang="en-US" altLang="zh-CN" sz="800" baseline="0" noProof="0" dirty="0">
                <a:latin typeface="+mn-lt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  <a:effectLst/>
          </p:spPr>
          <p:txBody>
            <a:bodyPr wrap="none" anchor="ctr"/>
            <a:lstStyle/>
            <a:p>
              <a:endParaRPr lang="en-US" altLang="zh-CN" sz="1600" noProof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65649" y="6443673"/>
            <a:ext cx="2182379" cy="19208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177" y="2133609"/>
            <a:ext cx="658100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20177" y="3867152"/>
            <a:ext cx="6581007" cy="215444"/>
          </a:xfrm>
        </p:spPr>
        <p:txBody>
          <a:bodyPr>
            <a:spAutoFit/>
          </a:bodyPr>
          <a:lstStyle>
            <a:lvl1pPr>
              <a:defRPr sz="14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 bwMode="auto">
          <a:xfrm>
            <a:off x="-14175" y="0"/>
            <a:ext cx="3189908" cy="6857999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/>
          <p:nvPr userDrawn="1">
            <p:custDataLst>
              <p:tags r:id="rId2"/>
            </p:custDataLst>
          </p:nvPr>
        </p:nvGraphicFramePr>
        <p:xfrm>
          <a:off x="211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4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Relationship Id="rId9" Type="http://schemas.openxmlformats.org/officeDocument/2006/relationships/image" Target="NUL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1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11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8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2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7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2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6438" y="36518"/>
            <a:ext cx="876339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894715"/>
            <a:endParaRPr lang="en-US" altLang="zh-CN" sz="800" noProof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139" y="755305"/>
            <a:ext cx="10892386" cy="12311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98839" y="230189"/>
            <a:ext cx="11258674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58759" y="26990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400" noProof="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58767" y="531822"/>
            <a:ext cx="11491891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1600" noProof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/>
          <p:nvPr/>
        </p:nvGrpSpPr>
        <p:grpSpPr bwMode="auto">
          <a:xfrm>
            <a:off x="158758" y="6078544"/>
            <a:ext cx="11398754" cy="509588"/>
            <a:chOff x="75" y="3829"/>
            <a:chExt cx="5385" cy="32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aseline="0" noProof="0" dirty="0">
                  <a:latin typeface="+mn-lt"/>
                </a:rPr>
                <a:t>1 </a:t>
              </a:r>
              <a:r>
                <a:rPr lang="zh-CN" altLang="en-US" sz="1000" baseline="0" noProof="0" dirty="0">
                  <a:latin typeface="+mn-lt"/>
                </a:rPr>
                <a:t>注</a:t>
              </a:r>
              <a:endParaRPr lang="en-US" altLang="zh-CN" sz="1000" baseline="0" noProof="0" dirty="0">
                <a:latin typeface="+mn-lt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4715">
                <a:tabLst>
                  <a:tab pos="612140" algn="l"/>
                </a:tabLst>
              </a:pPr>
              <a:r>
                <a:rPr lang="zh-CN" altLang="en-US" sz="1000" baseline="0" dirty="0">
                  <a:solidFill>
                    <a:schemeClr val="tx1"/>
                  </a:solidFill>
                  <a:latin typeface="+mn-lt"/>
                </a:rPr>
                <a:t>资料来源：</a:t>
              </a:r>
              <a:endParaRPr lang="en-US" altLang="zh-CN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7" name="ACET" hidden="1"/>
          <p:cNvGrpSpPr/>
          <p:nvPr/>
        </p:nvGrpSpPr>
        <p:grpSpPr bwMode="auto">
          <a:xfrm>
            <a:off x="1936845" y="1123953"/>
            <a:ext cx="5685618" cy="511175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US" altLang="zh-CN" sz="1600" b="1" noProof="0"/>
                <a:t>Title</a:t>
              </a:r>
            </a:p>
            <a:p>
              <a:r>
                <a:rPr lang="en-US" altLang="zh-CN" sz="1600" noProof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6650655"/>
            <a:ext cx="11966972" cy="207344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</p:spPr>
        <p:txBody>
          <a:bodyPr wrap="none" anchor="ctr"/>
          <a:lstStyle/>
          <a:p>
            <a:endParaRPr lang="en-US" altLang="zh-CN" sz="1600" noProof="0"/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11370523" y="6704655"/>
            <a:ext cx="0" cy="10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/>
          <p:nvPr userDrawn="1">
            <p:custDataLst>
              <p:tags r:id="rId7"/>
            </p:custDataLst>
          </p:nvPr>
        </p:nvSpPr>
        <p:spPr>
          <a:xfrm>
            <a:off x="11557512" y="6657135"/>
            <a:ext cx="530777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aseline="0" noProof="0" smtClean="0">
                <a:solidFill>
                  <a:schemeClr val="bg1"/>
                </a:solidFill>
              </a:rPr>
              <a:t>‹#›</a:t>
            </a:fld>
            <a:endParaRPr lang="en-US" sz="1000" baseline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</p:sldLayoutIdLst>
  <p:hf hdr="0" ftr="0" dt="0"/>
  <p:txStyles>
    <p:titleStyle>
      <a:lvl1pPr algn="l" defTabSz="894715" rtl="0" eaLnBrk="1" fontAlgn="base" hangingPunct="1">
        <a:spcBef>
          <a:spcPct val="0"/>
        </a:spcBef>
        <a:spcAft>
          <a:spcPct val="0"/>
        </a:spcAft>
        <a:tabLst>
          <a:tab pos="36131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57200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37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09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165" algn="l" defTabSz="8947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ea"/>
          <a:ea typeface="+mn-ea"/>
          <a:cs typeface="+mn-cs"/>
        </a:defRPr>
      </a:lvl1pPr>
      <a:lvl2pPr marL="193675" indent="-19177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ea"/>
        </a:defRPr>
      </a:lvl2pPr>
      <a:lvl3pPr marL="457200" indent="-261620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ea"/>
        </a:defRPr>
      </a:lvl3pPr>
      <a:lvl4pPr marL="614045" indent="-1555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ea"/>
        </a:defRPr>
      </a:lvl4pPr>
      <a:lvl5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ea"/>
        </a:defRPr>
      </a:lvl5pPr>
      <a:lvl6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49300" indent="-130175" algn="l" defTabSz="8947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556069" y="984677"/>
            <a:ext cx="5193098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rk</a:t>
            </a:r>
            <a:r>
              <a:rPr lang="zh-CN" altLang="en-US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b="1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ql</a:t>
            </a:r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zh-CN" altLang="en-US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park</a:t>
            </a:r>
            <a:r>
              <a:rPr lang="zh-CN" altLang="en-US" dirty="0"/>
              <a:t>重点依然在海量数据预处理</a:t>
            </a:r>
            <a:endParaRPr lang="en-US" altLang="zh-C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加速器感知调度</a:t>
            </a:r>
            <a:endParaRPr lang="en-US" altLang="zh-CN" dirty="0"/>
          </a:p>
          <a:p>
            <a:pPr marL="1199515" lvl="2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融合大数据处理 和</a:t>
            </a: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应用</a:t>
            </a:r>
            <a:endParaRPr lang="en-US" altLang="zh-CN" sz="18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99515" lvl="2" indent="-28575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支持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rk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PU</a:t>
            </a:r>
          </a:p>
          <a:p>
            <a:pPr lvl="3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zh-CN" sz="2000" b="1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Spark</a:t>
            </a:r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:</a:t>
            </a:r>
            <a:r>
              <a:rPr lang="zh-CN" altLang="en-US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 </a:t>
            </a:r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更加注重</a:t>
            </a: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thon3.0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优化</a:t>
            </a:r>
            <a:endParaRPr lang="en-US" altLang="zh-CN" sz="18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ndas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alas</a:t>
            </a:r>
            <a:r>
              <a:rPr lang="zh-CN" altLang="en-US" sz="18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zh-CN" sz="18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18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zh-CN" sz="2000" b="1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llib</a:t>
            </a:r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增加了新的评估器</a:t>
            </a:r>
            <a:endParaRPr lang="en-US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99515" lvl="2" indent="-285750">
              <a:buFont typeface="Arial" panose="020B0604020202020204" pitchFamily="34" charset="0"/>
              <a:buChar char="•"/>
            </a:pPr>
            <a:r>
              <a:rPr lang="en" altLang="zh-CN" dirty="0" err="1"/>
              <a:t>MultilabelClassificationEvaluator</a:t>
            </a:r>
            <a:endParaRPr lang="en" altLang="zh-CN" dirty="0"/>
          </a:p>
          <a:p>
            <a:pPr marL="1199515" lvl="2" indent="-285750">
              <a:buFont typeface="Arial" panose="020B0604020202020204" pitchFamily="34" charset="0"/>
              <a:buChar char="•"/>
            </a:pPr>
            <a:r>
              <a:rPr lang="en" altLang="zh-CN" dirty="0" err="1"/>
              <a:t>RankingEvaluator</a:t>
            </a:r>
            <a:endParaRPr lang="en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增加了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spark</a:t>
            </a: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ML</a:t>
            </a: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 监听器</a:t>
            </a:r>
            <a:endParaRPr lang="en-US" altLang="zh-CN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Python</a:t>
            </a: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中的梯度提升树增加了验证集拟合</a:t>
            </a:r>
            <a:endParaRPr lang="en-US" altLang="zh-CN" sz="18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06540" y="60156"/>
            <a:ext cx="28777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Spark3.0</a:t>
            </a: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的部分特性</a:t>
            </a:r>
            <a:endParaRPr lang="zh-CN" alt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1825186-97C3-9547-8A16-9858CBF40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9367" y="290988"/>
            <a:ext cx="3796496" cy="2777924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9AE0B923-0FAC-5A4A-8D33-A47C383C8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7671" y="3180783"/>
            <a:ext cx="5436071" cy="285226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5575EEF-4FDA-FB4E-8A97-51695E49E1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5395" y="2501530"/>
            <a:ext cx="33655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35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706540" y="60156"/>
            <a:ext cx="50604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rk3.0</a:t>
            </a: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预处理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o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数据集</a:t>
            </a:r>
            <a:endParaRPr lang="en-US" altLang="zh-CN" sz="24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75007" y="609600"/>
            <a:ext cx="5198175" cy="47312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o</a:t>
            </a:r>
            <a:r>
              <a:rPr lang="zh-CN" altLang="en-US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ck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广告</a:t>
            </a:r>
            <a:r>
              <a:rPr lang="en-US" altLang="zh-CN" sz="2000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t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预估，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亿个数据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ys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48G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=1152GB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连续型特征、</a:t>
            </a:r>
            <a:r>
              <a:rPr lang="en-US" altLang="zh-CN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6</a:t>
            </a: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类别型特征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n-US" altLang="zh-CN" sz="20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Preproces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解决内存不足问题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缺失值异常值处理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类别型特征统计并转换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数值型特征归一化</a:t>
            </a:r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US" altLang="zh-CN" sz="2000" b="1" dirty="0">
              <a:solidFill>
                <a:srgbClr val="37373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表格 6">
            <a:extLst>
              <a:ext uri="{FF2B5EF4-FFF2-40B4-BE49-F238E27FC236}">
                <a16:creationId xmlns:a16="http://schemas.microsoft.com/office/drawing/2014/main" id="{636ED02B-C467-A541-BB1E-46AF240604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8355501"/>
              </p:ext>
            </p:extLst>
          </p:nvPr>
        </p:nvGraphicFramePr>
        <p:xfrm>
          <a:off x="6653996" y="3201111"/>
          <a:ext cx="5198176" cy="203718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99544">
                  <a:extLst>
                    <a:ext uri="{9D8B030D-6E8A-4147-A177-3AD203B41FA5}">
                      <a16:colId xmlns:a16="http://schemas.microsoft.com/office/drawing/2014/main" val="2509498502"/>
                    </a:ext>
                  </a:extLst>
                </a:gridCol>
                <a:gridCol w="1299544">
                  <a:extLst>
                    <a:ext uri="{9D8B030D-6E8A-4147-A177-3AD203B41FA5}">
                      <a16:colId xmlns:a16="http://schemas.microsoft.com/office/drawing/2014/main" val="1122531693"/>
                    </a:ext>
                  </a:extLst>
                </a:gridCol>
                <a:gridCol w="1299544">
                  <a:extLst>
                    <a:ext uri="{9D8B030D-6E8A-4147-A177-3AD203B41FA5}">
                      <a16:colId xmlns:a16="http://schemas.microsoft.com/office/drawing/2014/main" val="4174909122"/>
                    </a:ext>
                  </a:extLst>
                </a:gridCol>
                <a:gridCol w="1299544">
                  <a:extLst>
                    <a:ext uri="{9D8B030D-6E8A-4147-A177-3AD203B41FA5}">
                      <a16:colId xmlns:a16="http://schemas.microsoft.com/office/drawing/2014/main" val="24330914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GPUs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CPU-cores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executors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time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4033817"/>
                  </a:ext>
                </a:extLst>
              </a:tr>
              <a:tr h="35257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8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4h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6888618"/>
                  </a:ext>
                </a:extLst>
              </a:tr>
              <a:tr h="35257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2.3h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9723256"/>
                  </a:ext>
                </a:extLst>
              </a:tr>
              <a:tr h="35257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.9h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736767"/>
                  </a:ext>
                </a:extLst>
              </a:tr>
              <a:tr h="35257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4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4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1.2h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0862122"/>
                  </a:ext>
                </a:extLst>
              </a:tr>
              <a:tr h="35257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8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32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8</a:t>
                      </a:r>
                      <a:endParaRPr lang="zh-CN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0.6h</a:t>
                      </a:r>
                      <a:endParaRPr lang="zh-CN" alt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1307178"/>
                  </a:ext>
                </a:extLst>
              </a:tr>
            </a:tbl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C34B61E4-381D-D146-A3FF-B9B4EFB1EDA5}"/>
              </a:ext>
            </a:extLst>
          </p:cNvPr>
          <p:cNvSpPr/>
          <p:nvPr/>
        </p:nvSpPr>
        <p:spPr>
          <a:xfrm>
            <a:off x="6522617" y="2768730"/>
            <a:ext cx="10358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ark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D867C2B-C1E8-6E4C-952A-E2D2E3582EDB}"/>
              </a:ext>
            </a:extLst>
          </p:cNvPr>
          <p:cNvSpPr/>
          <p:nvPr/>
        </p:nvSpPr>
        <p:spPr>
          <a:xfrm>
            <a:off x="6522617" y="1217026"/>
            <a:ext cx="22027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mpy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 err="1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pu</a:t>
            </a:r>
            <a:r>
              <a:rPr lang="zh-CN" altLang="en-US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400" b="1" dirty="0">
                <a:solidFill>
                  <a:srgbClr val="37373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D240BCD4-EB19-4A49-89F3-085C78CC1931}"/>
              </a:ext>
            </a:extLst>
          </p:cNvPr>
          <p:cNvSpPr/>
          <p:nvPr/>
        </p:nvSpPr>
        <p:spPr>
          <a:xfrm>
            <a:off x="6653996" y="1794305"/>
            <a:ext cx="263886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b="1" dirty="0">
                <a:solidFill>
                  <a:srgbClr val="373737"/>
                </a:solidFill>
                <a:latin typeface="+mn-ea"/>
                <a:cs typeface="Calibri" panose="020F0502020204030204" pitchFamily="34" charset="0"/>
              </a:rPr>
              <a:t>需要</a:t>
            </a:r>
            <a:r>
              <a:rPr lang="en-US" altLang="zh-CN" sz="2000" b="1" dirty="0">
                <a:solidFill>
                  <a:srgbClr val="373737"/>
                </a:solidFill>
                <a:latin typeface="+mn-ea"/>
                <a:cs typeface="Calibri" panose="020F0502020204030204" pitchFamily="34" charset="0"/>
              </a:rPr>
              <a:t>5.5</a:t>
            </a:r>
            <a:r>
              <a:rPr lang="zh-CN" altLang="en-US" sz="2000" b="1" dirty="0">
                <a:solidFill>
                  <a:srgbClr val="373737"/>
                </a:solidFill>
                <a:latin typeface="+mn-ea"/>
                <a:cs typeface="Calibri" panose="020F0502020204030204" pitchFamily="34" charset="0"/>
              </a:rPr>
              <a:t>天转换数据集</a:t>
            </a:r>
            <a:endParaRPr lang="en-US" altLang="zh-CN" sz="2000" b="1" dirty="0">
              <a:solidFill>
                <a:srgbClr val="373737"/>
              </a:solidFill>
              <a:latin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33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模板</Template>
  <TotalTime>2128</TotalTime>
  <Words>162</Words>
  <Application>Microsoft Macintosh PowerPoint</Application>
  <PresentationFormat>自定义</PresentationFormat>
  <Paragraphs>62</Paragraphs>
  <Slides>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楷体</vt:lpstr>
      <vt:lpstr>Arial</vt:lpstr>
      <vt:lpstr>Calibri</vt:lpstr>
      <vt:lpstr>blank</vt:lpstr>
      <vt:lpstr>1_blank</vt:lpstr>
      <vt:lpstr>2_blank</vt:lpstr>
      <vt:lpstr>think-cell Slide</vt:lpstr>
      <vt:lpstr>PowerPoint 演示文稿</vt:lpstr>
      <vt:lpstr>PowerPoint 演示文稿</vt:lpstr>
    </vt:vector>
  </TitlesOfParts>
  <Company>PAI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</dc:title>
  <dc:creator>Zheng Qiang</dc:creator>
  <cp:lastModifiedBy>Microsoft Office User</cp:lastModifiedBy>
  <cp:revision>2643</cp:revision>
  <cp:lastPrinted>2017-04-19T07:04:00Z</cp:lastPrinted>
  <dcterms:created xsi:type="dcterms:W3CDTF">2017-03-15T03:07:00Z</dcterms:created>
  <dcterms:modified xsi:type="dcterms:W3CDTF">2020-10-19T12:2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日期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  <property fmtid="{D5CDD505-2E9C-101B-9397-08002B2CF9AE}" pid="11" name="KSOProductBuildVer">
    <vt:lpwstr>2052-11.1.0.7849</vt:lpwstr>
  </property>
</Properties>
</file>